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9" r:id="rId5"/>
    <p:sldId id="258" r:id="rId6"/>
    <p:sldId id="280" r:id="rId7"/>
    <p:sldId id="283" r:id="rId8"/>
    <p:sldId id="281" r:id="rId9"/>
    <p:sldId id="270" r:id="rId10"/>
    <p:sldId id="260" r:id="rId11"/>
    <p:sldId id="273" r:id="rId12"/>
    <p:sldId id="284" r:id="rId13"/>
    <p:sldId id="285" r:id="rId14"/>
    <p:sldId id="286" r:id="rId15"/>
    <p:sldId id="287" r:id="rId16"/>
    <p:sldId id="279" r:id="rId17"/>
  </p:sldIdLst>
  <p:sldSz cx="12192000" cy="6858000"/>
  <p:notesSz cx="6858000" cy="9144000"/>
  <p:custDataLst>
    <p:tags r:id="rId2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084" y="4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0.6.2025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0.6.2025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92573" y="2374323"/>
            <a:ext cx="7929350" cy="1831917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67664"/>
            <a:ext cx="9051631" cy="1054678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353E8141-8598-D3E1-447A-71024BA35C90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83642" y="2141468"/>
            <a:ext cx="7724633" cy="244418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689882"/>
            <a:ext cx="9051631" cy="1289043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D76CFEF7-FBD4-6542-22AF-08A3D9733D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44684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7343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0.6.2025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0.6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0.6.2025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0.6.2025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utj&#228;mning.fi/" TargetMode="Externa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En bild som visar klädsel, person, byggnad, Människoansikte&#10;&#10;AI-genererat innehåll kan vara felaktigt.">
            <a:extLst>
              <a:ext uri="{FF2B5EF4-FFF2-40B4-BE49-F238E27FC236}">
                <a16:creationId xmlns:a16="http://schemas.microsoft.com/office/drawing/2014/main" id="{31F34D4D-FCE6-5F30-4E40-2B39FBC17AF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Kuva 10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BD701DBF-6A50-024C-0C96-7A8346D573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336" b="62993"/>
          <a:stretch/>
        </p:blipFill>
        <p:spPr>
          <a:xfrm>
            <a:off x="-382746" y="-1235609"/>
            <a:ext cx="7274866" cy="3684017"/>
          </a:xfrm>
          <a:prstGeom prst="rect">
            <a:avLst/>
          </a:prstGeom>
        </p:spPr>
      </p:pic>
      <p:pic>
        <p:nvPicPr>
          <p:cNvPr id="14" name="Kuva 13">
            <a:extLst>
              <a:ext uri="{FF2B5EF4-FFF2-40B4-BE49-F238E27FC236}">
                <a16:creationId xmlns:a16="http://schemas.microsoft.com/office/drawing/2014/main" id="{ECA66AA3-40DD-E857-E776-4600F26DAB2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409592"/>
            <a:ext cx="12192000" cy="265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31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A7BA9B36-385C-9CD1-3E8B-477A57FF1CEC}"/>
              </a:ext>
            </a:extLst>
          </p:cNvPr>
          <p:cNvSpPr txBox="1"/>
          <p:nvPr/>
        </p:nvSpPr>
        <p:spPr>
          <a:xfrm>
            <a:off x="2720340" y="1396315"/>
            <a:ext cx="8950436" cy="3349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ts val="2300"/>
              </a:lnSpc>
              <a:spcAft>
                <a:spcPts val="1200"/>
              </a:spcAft>
              <a:buNone/>
            </a:pPr>
            <a:r>
              <a:rPr lang="sv-FI" sz="2350" b="1" dirty="0"/>
              <a:t>Beställ material från Finska Missionssällskapet</a:t>
            </a:r>
            <a:br>
              <a:rPr lang="sv-FI" sz="2350" b="1" dirty="0"/>
            </a:br>
            <a:r>
              <a:rPr lang="sv-FI" sz="2350" dirty="0"/>
              <a:t>Beställ insamlingsbössor och -västar i god tid så att materialet hinner fram. </a:t>
            </a:r>
          </a:p>
          <a:p>
            <a:pPr marL="0" indent="0">
              <a:lnSpc>
                <a:spcPts val="2300"/>
              </a:lnSpc>
              <a:spcAft>
                <a:spcPts val="1200"/>
              </a:spcAft>
              <a:buNone/>
            </a:pPr>
            <a:r>
              <a:rPr lang="sv-FI" sz="2350" b="1" dirty="0"/>
              <a:t>Gör reklam för evenemanget</a:t>
            </a:r>
            <a:br>
              <a:rPr lang="sv-FI" sz="2350" dirty="0"/>
            </a:br>
            <a:r>
              <a:rPr lang="sv-FI" sz="2350" dirty="0"/>
              <a:t>Sätt upp Utjämningsaffischerna i god tid. Längst ner kan du skriva in datum och klockslag för evenemanget. </a:t>
            </a:r>
          </a:p>
          <a:p>
            <a:pPr marL="0" indent="0">
              <a:lnSpc>
                <a:spcPts val="2300"/>
              </a:lnSpc>
              <a:spcAft>
                <a:spcPts val="1200"/>
              </a:spcAft>
              <a:buNone/>
            </a:pPr>
            <a:r>
              <a:rPr lang="sv-FI" sz="2350" b="1" dirty="0"/>
              <a:t>Reklam på nätet </a:t>
            </a:r>
            <a:br>
              <a:rPr lang="sv-FI" sz="2350" b="1" dirty="0"/>
            </a:br>
            <a:r>
              <a:rPr lang="sv-FI" sz="2350" dirty="0"/>
              <a:t>Berätta om evenemanget också på nätet. Lämpliga bilder för sociala medier hittar du på </a:t>
            </a:r>
            <a:r>
              <a:rPr lang="sv-FI" sz="2350" u="sng" dirty="0">
                <a:hlinkClick r:id="rId2"/>
              </a:rPr>
              <a:t>www.utjämning.fi</a:t>
            </a:r>
            <a:r>
              <a:rPr lang="sv-FI" sz="2350" dirty="0"/>
              <a:t> under </a:t>
            </a:r>
            <a:r>
              <a:rPr lang="sv-FI" sz="2350" i="1" dirty="0"/>
              <a:t>Till församlingarna.</a:t>
            </a:r>
            <a:r>
              <a:rPr lang="sv-FI" sz="2350" b="1" dirty="0"/>
              <a:t> </a:t>
            </a:r>
            <a:r>
              <a:rPr lang="fi-FI" sz="2350" dirty="0" err="1"/>
              <a:t>Dela</a:t>
            </a:r>
            <a:r>
              <a:rPr lang="fi-FI" sz="2350" dirty="0"/>
              <a:t> </a:t>
            </a:r>
            <a:r>
              <a:rPr lang="fi-FI" sz="2350" dirty="0" err="1"/>
              <a:t>gärna</a:t>
            </a:r>
            <a:r>
              <a:rPr lang="fi-FI" sz="2350" dirty="0"/>
              <a:t> </a:t>
            </a:r>
            <a:r>
              <a:rPr lang="fi-FI" sz="2350" dirty="0" err="1"/>
              <a:t>bilderna</a:t>
            </a:r>
            <a:r>
              <a:rPr lang="fi-FI" sz="2350" dirty="0"/>
              <a:t> </a:t>
            </a:r>
            <a:r>
              <a:rPr lang="fi-FI" sz="2350" dirty="0" err="1"/>
              <a:t>med</a:t>
            </a:r>
            <a:r>
              <a:rPr lang="fi-FI" sz="2350" dirty="0"/>
              <a:t> </a:t>
            </a:r>
            <a:r>
              <a:rPr lang="fi-FI" sz="2350" dirty="0" err="1"/>
              <a:t>hashtaggen</a:t>
            </a:r>
            <a:r>
              <a:rPr lang="fi-FI" sz="2350" dirty="0"/>
              <a:t> #utjämning </a:t>
            </a:r>
            <a:endParaRPr lang="fi-FI" sz="1600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5F4FEC31-272E-F5B9-5236-97FAF91BE82F}"/>
              </a:ext>
            </a:extLst>
          </p:cNvPr>
          <p:cNvSpPr txBox="1">
            <a:spLocks/>
          </p:cNvSpPr>
          <p:nvPr/>
        </p:nvSpPr>
        <p:spPr>
          <a:xfrm>
            <a:off x="2720340" y="603528"/>
            <a:ext cx="9051631" cy="62029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Kom-i-håg-lista</a:t>
            </a:r>
          </a:p>
        </p:txBody>
      </p:sp>
    </p:spTree>
    <p:extLst>
      <p:ext uri="{BB962C8B-B14F-4D97-AF65-F5344CB8AC3E}">
        <p14:creationId xmlns:p14="http://schemas.microsoft.com/office/powerpoint/2010/main" val="403142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ruutu 2">
            <a:extLst>
              <a:ext uri="{FF2B5EF4-FFF2-40B4-BE49-F238E27FC236}">
                <a16:creationId xmlns:a16="http://schemas.microsoft.com/office/drawing/2014/main" id="{32420E73-3E08-DD25-CFD6-0A179190CA7A}"/>
              </a:ext>
            </a:extLst>
          </p:cNvPr>
          <p:cNvSpPr txBox="1"/>
          <p:nvPr/>
        </p:nvSpPr>
        <p:spPr>
          <a:xfrm>
            <a:off x="2889884" y="767150"/>
            <a:ext cx="8306436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sv-FI" sz="2400" b="1" dirty="0"/>
              <a:t>Bekanta dig med insamlingsmålet</a:t>
            </a:r>
            <a:br>
              <a:rPr lang="sv-FI" sz="2400" b="1" dirty="0"/>
            </a:br>
            <a:r>
              <a:rPr lang="sv-FI" sz="2400" dirty="0"/>
              <a:t>På </a:t>
            </a:r>
            <a:r>
              <a:rPr lang="sv-FI" sz="2400" u="sng" dirty="0">
                <a:hlinkClick r:id="rId2"/>
              </a:rPr>
              <a:t>www.utjämning.fi</a:t>
            </a:r>
            <a:r>
              <a:rPr lang="sv-FI" sz="2400" dirty="0"/>
              <a:t> och i Utjämningsbroschyren hittar du mer info om årets Utjämning.</a:t>
            </a:r>
          </a:p>
          <a:p>
            <a:pPr>
              <a:spcAft>
                <a:spcPts val="1200"/>
              </a:spcAft>
            </a:pPr>
            <a:r>
              <a:rPr lang="sv-FI" sz="2400" b="1" dirty="0"/>
              <a:t>Be modigt om pengar</a:t>
            </a:r>
            <a:br>
              <a:rPr lang="sv-FI" sz="2400" b="1" dirty="0"/>
            </a:br>
            <a:r>
              <a:rPr lang="sv-FI" sz="2400" dirty="0"/>
              <a:t>Var frimodig – du ber inte om pengar till dig själv utan för att förbättra livet för de allra mest utsatta i världen. Också en liten gåva är oerhört värdefull. </a:t>
            </a:r>
          </a:p>
          <a:p>
            <a:pPr>
              <a:spcAft>
                <a:spcPts val="1200"/>
              </a:spcAft>
            </a:pPr>
            <a:r>
              <a:rPr lang="sv-FI" sz="2400" dirty="0"/>
              <a:t>Om du inte ber om pengar så kommer kanske ingen på tanken att ge. </a:t>
            </a:r>
            <a:endParaRPr lang="fi-FI" sz="2400" dirty="0"/>
          </a:p>
        </p:txBody>
      </p:sp>
    </p:spTree>
    <p:extLst>
      <p:ext uri="{BB962C8B-B14F-4D97-AF65-F5344CB8AC3E}">
        <p14:creationId xmlns:p14="http://schemas.microsoft.com/office/powerpoint/2010/main" val="1407667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739AA140-F44C-2F73-B331-0D42099685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5225" y="1863214"/>
            <a:ext cx="8599976" cy="313157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sv-FI" sz="2400" dirty="0"/>
              <a:t>De insamlade medlen betalas till </a:t>
            </a:r>
            <a:r>
              <a:rPr lang="sv-FI" sz="2400" b="1" dirty="0"/>
              <a:t>FI25 8000 1600 0607 10</a:t>
            </a:r>
            <a:br>
              <a:rPr lang="sv-FI" sz="2400" dirty="0"/>
            </a:br>
            <a:r>
              <a:rPr lang="sv-FI" sz="2400" dirty="0"/>
              <a:t>Använd de referensnummer för Utjämningen som </a:t>
            </a:r>
            <a:br>
              <a:rPr lang="sv-FI" sz="2400" dirty="0"/>
            </a:br>
            <a:r>
              <a:rPr lang="sv-FI" sz="2400" dirty="0"/>
              <a:t>finns på www.seurakuntapalvelut.fi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sv-FI" sz="2400" dirty="0"/>
              <a:t>De medel som samlats in med bössor betalas till vårt insamlingskonto </a:t>
            </a:r>
            <a:r>
              <a:rPr lang="sv-FI" sz="2400" b="1" dirty="0"/>
              <a:t>FI38 8000 1400 1611 30</a:t>
            </a:r>
            <a:r>
              <a:rPr lang="sv-FI" sz="2400" dirty="0"/>
              <a:t>. </a:t>
            </a:r>
            <a:br>
              <a:rPr lang="sv-FI" sz="2400" dirty="0"/>
            </a:br>
            <a:r>
              <a:rPr lang="sv-FI" sz="2400" dirty="0"/>
              <a:t>Referensnumren för dessa inbetalningar får ni i samma försändelse som insamlingstillståndsetikettern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DF27B38B-E725-63AC-D294-DB450CE9BD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5286" y="242842"/>
            <a:ext cx="8789915" cy="1289043"/>
          </a:xfrm>
        </p:spPr>
        <p:txBody>
          <a:bodyPr/>
          <a:lstStyle/>
          <a:p>
            <a:r>
              <a:rPr lang="fi-FI" dirty="0" err="1"/>
              <a:t>Redovisa</a:t>
            </a:r>
            <a:r>
              <a:rPr lang="fi-FI" dirty="0"/>
              <a:t> </a:t>
            </a:r>
            <a:r>
              <a:rPr lang="fi-FI" dirty="0" err="1"/>
              <a:t>inkomstern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11029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ör en rättvisare, ljusare </a:t>
            </a:r>
          </a:p>
          <a:p>
            <a:r>
              <a:rPr lang="sv-SE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 vänligare värld.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UTJÄMNING</a:t>
            </a:r>
          </a:p>
        </p:txBody>
      </p:sp>
    </p:spTree>
    <p:extLst>
      <p:ext uri="{BB962C8B-B14F-4D97-AF65-F5344CB8AC3E}">
        <p14:creationId xmlns:p14="http://schemas.microsoft.com/office/powerpoint/2010/main" val="2590908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EF8CA7E2-5142-44CE-0D65-60E030D4FCA7}"/>
              </a:ext>
            </a:extLst>
          </p:cNvPr>
          <p:cNvSpPr txBox="1"/>
          <p:nvPr/>
        </p:nvSpPr>
        <p:spPr>
          <a:xfrm>
            <a:off x="2744486" y="1385957"/>
            <a:ext cx="9245687" cy="32983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350" dirty="0"/>
              <a:t>Genom att delta i Utjämningen kan du vara med och jämna ut välmåendet runtom i världen. </a:t>
            </a:r>
          </a:p>
          <a:p>
            <a:pPr>
              <a:lnSpc>
                <a:spcPts val="2500"/>
              </a:lnSpc>
              <a:spcBef>
                <a:spcPts val="0"/>
              </a:spcBef>
            </a:pPr>
            <a:endParaRPr lang="sv-FI" sz="2350" dirty="0"/>
          </a:p>
          <a:p>
            <a:pPr>
              <a:lnSpc>
                <a:spcPts val="2500"/>
              </a:lnSpc>
            </a:pPr>
            <a:r>
              <a:rPr lang="sv-FI" sz="235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 år infaller höstdagjämningen måndagen 22 september och med den kulminerar årets Utjämningsinsamling. Markera gärna hela veckan </a:t>
            </a:r>
            <a:r>
              <a:rPr lang="sv-FI" sz="2350" b="1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6–22.9.2025</a:t>
            </a:r>
            <a:r>
              <a:rPr lang="sv-FI" sz="235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om en Utjämningsvecka för att lyfta fram kampanjen i församlingens verksamhet!</a:t>
            </a:r>
            <a:br>
              <a:rPr lang="sv-FI" sz="2350" dirty="0"/>
            </a:br>
            <a:endParaRPr lang="sv-FI" sz="2350" dirty="0"/>
          </a:p>
          <a:p>
            <a:pPr>
              <a:lnSpc>
                <a:spcPts val="2500"/>
              </a:lnSpc>
              <a:spcBef>
                <a:spcPts val="0"/>
              </a:spcBef>
            </a:pPr>
            <a:r>
              <a:rPr lang="sv-FI" sz="2350" dirty="0"/>
              <a:t>Här kommer idéer kring vilka typer av evenemang ni kan ordna. Välj ett sätt som passar just er församling. Mer info på </a:t>
            </a:r>
            <a:r>
              <a:rPr lang="sv-FI" sz="2350" dirty="0">
                <a:hlinkClick r:id="rId2"/>
              </a:rPr>
              <a:t>www.utjämning.fi</a:t>
            </a:r>
            <a:endParaRPr lang="sv-FI" sz="2350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F3C64E50-0FBF-20E2-B98A-57001325696F}"/>
              </a:ext>
            </a:extLst>
          </p:cNvPr>
          <p:cNvSpPr txBox="1">
            <a:spLocks/>
          </p:cNvSpPr>
          <p:nvPr/>
        </p:nvSpPr>
        <p:spPr>
          <a:xfrm>
            <a:off x="2744486" y="436562"/>
            <a:ext cx="7869091" cy="66519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Kom med i Utjämningen!</a:t>
            </a:r>
          </a:p>
        </p:txBody>
      </p:sp>
    </p:spTree>
    <p:extLst>
      <p:ext uri="{BB962C8B-B14F-4D97-AF65-F5344CB8AC3E}">
        <p14:creationId xmlns:p14="http://schemas.microsoft.com/office/powerpoint/2010/main" val="35203415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iruutu 6">
            <a:extLst>
              <a:ext uri="{FF2B5EF4-FFF2-40B4-BE49-F238E27FC236}">
                <a16:creationId xmlns:a16="http://schemas.microsoft.com/office/drawing/2014/main" id="{06E789EC-3890-EF7D-C08D-D86C21C2073C}"/>
              </a:ext>
            </a:extLst>
          </p:cNvPr>
          <p:cNvSpPr txBox="1"/>
          <p:nvPr/>
        </p:nvSpPr>
        <p:spPr>
          <a:xfrm>
            <a:off x="2865120" y="1899920"/>
            <a:ext cx="7971756" cy="2336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sv-FI" sz="2350" cap="none" dirty="0"/>
              <a:t>Vanliga sätt att samla in pengar är bössinsamlingar, basarer, marknader,</a:t>
            </a:r>
            <a:r>
              <a:rPr lang="sv-FI" sz="2350" dirty="0"/>
              <a:t> </a:t>
            </a:r>
            <a:r>
              <a:rPr lang="sv-FI" sz="2350" cap="none" dirty="0" err="1"/>
              <a:t>kyrkkaffen</a:t>
            </a:r>
            <a:r>
              <a:rPr lang="sv-FI" sz="2350" cap="none" dirty="0"/>
              <a:t> och kollekter. </a:t>
            </a:r>
            <a:br>
              <a:rPr lang="sv-FI" sz="2350" cap="none" dirty="0"/>
            </a:br>
            <a:endParaRPr lang="sv-FI" sz="2350" cap="none" dirty="0"/>
          </a:p>
          <a:p>
            <a:pPr>
              <a:lnSpc>
                <a:spcPts val="2500"/>
              </a:lnSpc>
            </a:pPr>
            <a:r>
              <a:rPr lang="sv-FI" sz="2350" dirty="0"/>
              <a:t>Man kan också ordna pop </a:t>
            </a:r>
            <a:r>
              <a:rPr lang="sv-FI" sz="2350" dirty="0" err="1"/>
              <a:t>up</a:t>
            </a:r>
            <a:r>
              <a:rPr lang="sv-FI" sz="2350" dirty="0"/>
              <a:t>-restaurang, lopptorg, konsert, missionslunch med recept från andra länder, familjedag, </a:t>
            </a:r>
            <a:r>
              <a:rPr lang="sv-FI" sz="2350" dirty="0" err="1"/>
              <a:t>Food</a:t>
            </a:r>
            <a:r>
              <a:rPr lang="sv-FI" sz="2350" dirty="0"/>
              <a:t> for Hope-samling, Motion &amp; Mission-evenemang m.m. 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3E4A6405-D02E-1FDD-12E0-A959174FCB29}"/>
              </a:ext>
            </a:extLst>
          </p:cNvPr>
          <p:cNvSpPr txBox="1">
            <a:spLocks/>
          </p:cNvSpPr>
          <p:nvPr/>
        </p:nvSpPr>
        <p:spPr>
          <a:xfrm>
            <a:off x="2865120" y="862164"/>
            <a:ext cx="7798336" cy="74508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Hur kan man delta?</a:t>
            </a:r>
          </a:p>
        </p:txBody>
      </p:sp>
    </p:spTree>
    <p:extLst>
      <p:ext uri="{BB962C8B-B14F-4D97-AF65-F5344CB8AC3E}">
        <p14:creationId xmlns:p14="http://schemas.microsoft.com/office/powerpoint/2010/main" val="36990216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>
            <a:extLst>
              <a:ext uri="{FF2B5EF4-FFF2-40B4-BE49-F238E27FC236}">
                <a16:creationId xmlns:a16="http://schemas.microsoft.com/office/drawing/2014/main" id="{24355D58-48C1-29A2-0A88-56255A73EEE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8746" y="257971"/>
            <a:ext cx="2248773" cy="3999069"/>
          </a:xfrm>
          <a:prstGeom prst="rect">
            <a:avLst/>
          </a:prstGeom>
        </p:spPr>
      </p:pic>
      <p:sp>
        <p:nvSpPr>
          <p:cNvPr id="7" name="Tekstiruutu 6">
            <a:extLst>
              <a:ext uri="{FF2B5EF4-FFF2-40B4-BE49-F238E27FC236}">
                <a16:creationId xmlns:a16="http://schemas.microsoft.com/office/drawing/2014/main" id="{E6BE58E4-41B1-81B6-E861-D5DE5C2D0AB7}"/>
              </a:ext>
            </a:extLst>
          </p:cNvPr>
          <p:cNvSpPr txBox="1"/>
          <p:nvPr/>
        </p:nvSpPr>
        <p:spPr>
          <a:xfrm>
            <a:off x="2004694" y="1713813"/>
            <a:ext cx="7494906" cy="2635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fi-FI" sz="2400" dirty="0" err="1"/>
              <a:t>Samla</a:t>
            </a:r>
            <a:r>
              <a:rPr lang="fi-FI" sz="2400" dirty="0"/>
              <a:t> </a:t>
            </a:r>
            <a:r>
              <a:rPr lang="fi-FI" sz="2400" dirty="0" err="1"/>
              <a:t>ihop</a:t>
            </a:r>
            <a:r>
              <a:rPr lang="fi-FI" sz="2400" dirty="0"/>
              <a:t> en </a:t>
            </a:r>
            <a:r>
              <a:rPr lang="fi-FI" sz="2400" dirty="0" err="1"/>
              <a:t>grupp</a:t>
            </a:r>
            <a:r>
              <a:rPr lang="fi-FI" sz="2400" dirty="0"/>
              <a:t> </a:t>
            </a:r>
            <a:r>
              <a:rPr lang="fi-FI" sz="2400" dirty="0" err="1"/>
              <a:t>frivilliga</a:t>
            </a:r>
            <a:r>
              <a:rPr lang="fi-FI" sz="2400" dirty="0"/>
              <a:t> </a:t>
            </a:r>
            <a:r>
              <a:rPr lang="fi-FI" sz="2400" dirty="0" err="1"/>
              <a:t>och</a:t>
            </a:r>
            <a:r>
              <a:rPr lang="fi-FI" sz="2400" dirty="0"/>
              <a:t> </a:t>
            </a:r>
            <a:r>
              <a:rPr lang="fi-FI" sz="2400" dirty="0" err="1"/>
              <a:t>samla</a:t>
            </a:r>
            <a:r>
              <a:rPr lang="fi-FI" sz="2400" dirty="0"/>
              <a:t> </a:t>
            </a:r>
            <a:r>
              <a:rPr lang="fi-FI" sz="2400" dirty="0" err="1"/>
              <a:t>pengar</a:t>
            </a:r>
            <a:r>
              <a:rPr lang="fi-FI" sz="2400" dirty="0"/>
              <a:t> </a:t>
            </a:r>
            <a:r>
              <a:rPr lang="fi-FI" sz="2400" dirty="0" err="1"/>
              <a:t>vid</a:t>
            </a:r>
            <a:r>
              <a:rPr lang="fi-FI" sz="2400" dirty="0"/>
              <a:t> </a:t>
            </a:r>
            <a:r>
              <a:rPr lang="fi-FI" sz="2400" dirty="0" err="1"/>
              <a:t>butiker</a:t>
            </a:r>
            <a:r>
              <a:rPr lang="fi-FI" sz="2400" dirty="0"/>
              <a:t>, </a:t>
            </a:r>
            <a:r>
              <a:rPr lang="fi-FI" sz="2400" dirty="0" err="1"/>
              <a:t>torg</a:t>
            </a:r>
            <a:r>
              <a:rPr lang="fi-FI" sz="2400" dirty="0"/>
              <a:t> </a:t>
            </a:r>
            <a:r>
              <a:rPr lang="fi-FI" sz="2400" dirty="0" err="1"/>
              <a:t>eller</a:t>
            </a:r>
            <a:r>
              <a:rPr lang="fi-FI" sz="2400" dirty="0"/>
              <a:t> </a:t>
            </a:r>
            <a:r>
              <a:rPr lang="fi-FI" sz="2400" dirty="0" err="1"/>
              <a:t>andra</a:t>
            </a:r>
            <a:r>
              <a:rPr lang="fi-FI" sz="2400" dirty="0"/>
              <a:t> </a:t>
            </a:r>
            <a:r>
              <a:rPr lang="fi-FI" sz="2400" dirty="0" err="1"/>
              <a:t>lämpliga</a:t>
            </a:r>
            <a:r>
              <a:rPr lang="fi-FI" sz="2400" dirty="0"/>
              <a:t> </a:t>
            </a:r>
            <a:r>
              <a:rPr lang="fi-FI" sz="2400" dirty="0" err="1"/>
              <a:t>ställen</a:t>
            </a:r>
            <a:r>
              <a:rPr lang="fi-FI" sz="2400" dirty="0"/>
              <a:t>. </a:t>
            </a:r>
            <a:r>
              <a:rPr lang="fi-FI" sz="2400" dirty="0" err="1"/>
              <a:t>Be</a:t>
            </a:r>
            <a:r>
              <a:rPr lang="fi-FI" sz="2400" dirty="0"/>
              <a:t> </a:t>
            </a:r>
            <a:r>
              <a:rPr lang="fi-FI" sz="2400" dirty="0" err="1"/>
              <a:t>butiks-ägaren</a:t>
            </a:r>
            <a:r>
              <a:rPr lang="fi-FI" sz="2400" dirty="0"/>
              <a:t> </a:t>
            </a:r>
            <a:r>
              <a:rPr lang="fi-FI" sz="2400" dirty="0" err="1"/>
              <a:t>om</a:t>
            </a:r>
            <a:r>
              <a:rPr lang="fi-FI" sz="2400" dirty="0"/>
              <a:t> </a:t>
            </a:r>
            <a:r>
              <a:rPr lang="fi-FI" sz="2400" dirty="0" err="1"/>
              <a:t>lov</a:t>
            </a:r>
            <a:r>
              <a:rPr lang="fi-FI" sz="2400" dirty="0"/>
              <a:t> </a:t>
            </a:r>
            <a:r>
              <a:rPr lang="fi-FI" sz="2400" dirty="0" err="1"/>
              <a:t>innan</a:t>
            </a:r>
            <a:r>
              <a:rPr lang="fi-FI" sz="2400" dirty="0"/>
              <a:t> </a:t>
            </a:r>
            <a:r>
              <a:rPr lang="fi-FI" sz="2400" dirty="0" err="1"/>
              <a:t>ni</a:t>
            </a:r>
            <a:r>
              <a:rPr lang="fi-FI" sz="2400" dirty="0"/>
              <a:t> </a:t>
            </a:r>
            <a:r>
              <a:rPr lang="fi-FI" sz="2400" dirty="0" err="1"/>
              <a:t>samlar</a:t>
            </a:r>
            <a:r>
              <a:rPr lang="fi-FI" sz="2400" dirty="0"/>
              <a:t> </a:t>
            </a:r>
            <a:r>
              <a:rPr lang="fi-FI" sz="2400" dirty="0" err="1"/>
              <a:t>utanför</a:t>
            </a:r>
            <a:r>
              <a:rPr lang="fi-FI" sz="2400" dirty="0"/>
              <a:t> en </a:t>
            </a:r>
            <a:r>
              <a:rPr lang="fi-FI" sz="2400" dirty="0" err="1"/>
              <a:t>butik</a:t>
            </a:r>
            <a:r>
              <a:rPr lang="fi-FI" sz="2400" dirty="0"/>
              <a:t>. </a:t>
            </a:r>
            <a:br>
              <a:rPr lang="fi-FI" sz="2400" dirty="0"/>
            </a:br>
            <a:endParaRPr lang="fi-FI" sz="2400" dirty="0"/>
          </a:p>
          <a:p>
            <a:pPr>
              <a:lnSpc>
                <a:spcPts val="2500"/>
              </a:lnSpc>
            </a:pPr>
            <a:r>
              <a:rPr lang="fi-FI" sz="2400" dirty="0" err="1"/>
              <a:t>Kom</a:t>
            </a:r>
            <a:r>
              <a:rPr lang="fi-FI" sz="2400" dirty="0"/>
              <a:t> </a:t>
            </a:r>
            <a:r>
              <a:rPr lang="fi-FI" sz="2400" dirty="0" err="1"/>
              <a:t>ihåg</a:t>
            </a:r>
            <a:r>
              <a:rPr lang="fi-FI" sz="2400" dirty="0"/>
              <a:t> </a:t>
            </a:r>
            <a:r>
              <a:rPr lang="fi-FI" sz="2400" dirty="0" err="1"/>
              <a:t>att</a:t>
            </a:r>
            <a:r>
              <a:rPr lang="fi-FI" sz="2400" dirty="0"/>
              <a:t> </a:t>
            </a:r>
            <a:r>
              <a:rPr lang="fi-FI" sz="2400" dirty="0" err="1"/>
              <a:t>beställa</a:t>
            </a:r>
            <a:r>
              <a:rPr lang="fi-FI" sz="2400" dirty="0"/>
              <a:t> </a:t>
            </a:r>
            <a:r>
              <a:rPr lang="fi-FI" sz="2400" dirty="0" err="1"/>
              <a:t>insamlingsvästar</a:t>
            </a:r>
            <a:r>
              <a:rPr lang="fi-FI" sz="2400" dirty="0"/>
              <a:t> </a:t>
            </a:r>
            <a:r>
              <a:rPr lang="fi-FI" sz="2400" dirty="0" err="1"/>
              <a:t>och</a:t>
            </a:r>
            <a:r>
              <a:rPr lang="fi-FI" sz="2400" dirty="0"/>
              <a:t> </a:t>
            </a:r>
            <a:r>
              <a:rPr lang="fi-FI" sz="2400" dirty="0" err="1"/>
              <a:t>bössor</a:t>
            </a:r>
            <a:r>
              <a:rPr lang="fi-FI" sz="2400" dirty="0"/>
              <a:t> </a:t>
            </a:r>
            <a:r>
              <a:rPr lang="fi-FI" sz="2400" dirty="0" err="1"/>
              <a:t>från</a:t>
            </a:r>
            <a:r>
              <a:rPr lang="fi-FI" sz="2400" dirty="0"/>
              <a:t> </a:t>
            </a:r>
            <a:r>
              <a:rPr lang="fi-FI" sz="2400" dirty="0" err="1"/>
              <a:t>Finska</a:t>
            </a:r>
            <a:r>
              <a:rPr lang="fi-FI" sz="2400" dirty="0"/>
              <a:t> </a:t>
            </a:r>
            <a:r>
              <a:rPr lang="fi-FI" sz="2400" dirty="0" err="1"/>
              <a:t>Missionssällskapet</a:t>
            </a:r>
            <a:r>
              <a:rPr lang="fi-FI" sz="2400" dirty="0"/>
              <a:t>: </a:t>
            </a:r>
          </a:p>
          <a:p>
            <a:pPr>
              <a:lnSpc>
                <a:spcPts val="2500"/>
              </a:lnSpc>
            </a:pPr>
            <a:r>
              <a:rPr lang="fi-FI" sz="2400" dirty="0"/>
              <a:t>040-7648051</a:t>
            </a:r>
            <a:br>
              <a:rPr lang="fi-FI" sz="2400" dirty="0"/>
            </a:br>
            <a:r>
              <a:rPr lang="fi-FI" sz="2400" dirty="0"/>
              <a:t>info@finskamissionssallskapet.fi</a:t>
            </a:r>
            <a:endParaRPr lang="fi-FI" sz="2400" dirty="0">
              <a:solidFill>
                <a:srgbClr val="FF0000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FE0751C-DD20-43F0-2FE4-B6562441058D}"/>
              </a:ext>
            </a:extLst>
          </p:cNvPr>
          <p:cNvSpPr txBox="1">
            <a:spLocks/>
          </p:cNvSpPr>
          <p:nvPr/>
        </p:nvSpPr>
        <p:spPr>
          <a:xfrm>
            <a:off x="2021840" y="372511"/>
            <a:ext cx="6689993" cy="10570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Insamling med bössor</a:t>
            </a:r>
          </a:p>
        </p:txBody>
      </p:sp>
    </p:spTree>
    <p:extLst>
      <p:ext uri="{BB962C8B-B14F-4D97-AF65-F5344CB8AC3E}">
        <p14:creationId xmlns:p14="http://schemas.microsoft.com/office/powerpoint/2010/main" val="3804396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6A338451-150F-581E-D512-DE8D8A430E1B}"/>
              </a:ext>
            </a:extLst>
          </p:cNvPr>
          <p:cNvSpPr txBox="1"/>
          <p:nvPr/>
        </p:nvSpPr>
        <p:spPr>
          <a:xfrm>
            <a:off x="2700654" y="1091704"/>
            <a:ext cx="8891906" cy="38882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Välj en plats där det rör sig mycket folk och en tidpunkt då många människor är i farten, t.ex. veckoslut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Be frimodigt om pengar. Använd godis, spännande föremål eller kända människor för att få människor att stanna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Dela ut insamlingsbroschyrer till dem som inte har kontanter med sig. På broschyren finns instruktioner för hur man donerar via telefon och </a:t>
            </a:r>
            <a:r>
              <a:rPr lang="sv-FI" sz="2350" dirty="0" err="1"/>
              <a:t>MobilePay</a:t>
            </a:r>
            <a:r>
              <a:rPr lang="sv-FI" sz="2350" dirty="0"/>
              <a:t>.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Gör reklam för bössinsamlingen via församlingens infoblad, sociala medier etc. </a:t>
            </a:r>
          </a:p>
          <a:p>
            <a:pPr marL="342900" indent="-342900">
              <a:lnSpc>
                <a:spcPts val="22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sv-FI" sz="2350" dirty="0"/>
              <a:t>Gör upp insamlingsschemat så att en person samlar högst några timmar i sträck. Det kan vara bra att värva några extra insamlare ifall någon blir sjuk. 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777D1D0-F5AE-3F0B-7355-FE1500866F4A}"/>
              </a:ext>
            </a:extLst>
          </p:cNvPr>
          <p:cNvSpPr txBox="1">
            <a:spLocks/>
          </p:cNvSpPr>
          <p:nvPr/>
        </p:nvSpPr>
        <p:spPr>
          <a:xfrm>
            <a:off x="940264" y="237420"/>
            <a:ext cx="9051631" cy="76284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sv-FI" sz="3400" dirty="0"/>
              <a:t>Idéer för en bössinsamling</a:t>
            </a:r>
          </a:p>
        </p:txBody>
      </p:sp>
    </p:spTree>
    <p:extLst>
      <p:ext uri="{BB962C8B-B14F-4D97-AF65-F5344CB8AC3E}">
        <p14:creationId xmlns:p14="http://schemas.microsoft.com/office/powerpoint/2010/main" val="4006988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37C4E7A8-03B2-5DED-07E2-A48BEBC50248}"/>
              </a:ext>
            </a:extLst>
          </p:cNvPr>
          <p:cNvSpPr txBox="1"/>
          <p:nvPr/>
        </p:nvSpPr>
        <p:spPr>
          <a:xfrm>
            <a:off x="2560954" y="1583563"/>
            <a:ext cx="8310246" cy="2321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3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en skördemarknad till förmån för Utjämningen.</a:t>
            </a:r>
          </a:p>
          <a:p>
            <a:pPr marL="342900" indent="-342900">
              <a:lnSpc>
                <a:spcPts val="23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Sälja bakverk och munkar på torgdagar, marknader etc.</a:t>
            </a:r>
          </a:p>
          <a:p>
            <a:pPr marL="342900" indent="-342900">
              <a:lnSpc>
                <a:spcPts val="23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Öppna en pop-</a:t>
            </a:r>
            <a:r>
              <a:rPr lang="sv-FI" sz="2400" dirty="0" err="1"/>
              <a:t>up</a:t>
            </a:r>
            <a:r>
              <a:rPr lang="sv-FI" sz="2400" dirty="0"/>
              <a:t> restaurang med recept från andra länder.</a:t>
            </a:r>
            <a:r>
              <a:rPr lang="sv-FI" sz="1200" dirty="0"/>
              <a:t> </a:t>
            </a:r>
            <a:r>
              <a:rPr lang="sv-FI" sz="2400" dirty="0"/>
              <a:t>Tips på matrecept hittar du på </a:t>
            </a:r>
            <a:r>
              <a:rPr lang="sv-FI" sz="2400" dirty="0">
                <a:hlinkClick r:id="rId2"/>
              </a:rPr>
              <a:t>www.utjämning.fi</a:t>
            </a:r>
            <a:r>
              <a:rPr lang="sv-FI" sz="2400" dirty="0"/>
              <a:t>, under </a:t>
            </a:r>
            <a:r>
              <a:rPr lang="sv-FI" sz="2400" i="1" dirty="0"/>
              <a:t>Till församlingar.</a:t>
            </a:r>
            <a:endParaRPr lang="fi-FI" sz="1800" dirty="0"/>
          </a:p>
          <a:p>
            <a:pPr>
              <a:lnSpc>
                <a:spcPts val="2500"/>
              </a:lnSpc>
            </a:pPr>
            <a:endParaRPr lang="fi-FI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6F2183D2-97C0-7049-A427-3E377137CF8C}"/>
              </a:ext>
            </a:extLst>
          </p:cNvPr>
          <p:cNvSpPr txBox="1">
            <a:spLocks/>
          </p:cNvSpPr>
          <p:nvPr/>
        </p:nvSpPr>
        <p:spPr>
          <a:xfrm>
            <a:off x="2560954" y="678298"/>
            <a:ext cx="8031579" cy="63855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Andra exempel på vad man kan göra</a:t>
            </a:r>
          </a:p>
        </p:txBody>
      </p:sp>
    </p:spTree>
    <p:extLst>
      <p:ext uri="{BB962C8B-B14F-4D97-AF65-F5344CB8AC3E}">
        <p14:creationId xmlns:p14="http://schemas.microsoft.com/office/powerpoint/2010/main" val="1612006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F9C06985-F511-A899-470B-A248B2C6FE5E}"/>
              </a:ext>
            </a:extLst>
          </p:cNvPr>
          <p:cNvSpPr txBox="1"/>
          <p:nvPr/>
        </p:nvSpPr>
        <p:spPr>
          <a:xfrm>
            <a:off x="2794000" y="2052791"/>
            <a:ext cx="7874000" cy="25288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lunch på en vardag och bjud in anställda från olika arbetsplatser</a:t>
            </a:r>
          </a:p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Välj enkla recept med billiga ingredienser eller använd -60 %-varor från någon affär och gör t ex en soppa.</a:t>
            </a:r>
          </a:p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Kanske man kunde odla något någonstans i församlingen och göra en lunch av det.</a:t>
            </a:r>
          </a:p>
          <a:p>
            <a:pPr marL="342900" lvl="1" indent="-342900">
              <a:lnSpc>
                <a:spcPts val="22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 Glöm inte att göra mycket reklam för lunchen! 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1C2048F-E6F0-5493-1DFC-8062A0049A6C}"/>
              </a:ext>
            </a:extLst>
          </p:cNvPr>
          <p:cNvSpPr txBox="1">
            <a:spLocks/>
          </p:cNvSpPr>
          <p:nvPr/>
        </p:nvSpPr>
        <p:spPr>
          <a:xfrm>
            <a:off x="2712720" y="1046151"/>
            <a:ext cx="6253325" cy="64743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Utjämningslunch</a:t>
            </a:r>
          </a:p>
        </p:txBody>
      </p:sp>
    </p:spTree>
    <p:extLst>
      <p:ext uri="{BB962C8B-B14F-4D97-AF65-F5344CB8AC3E}">
        <p14:creationId xmlns:p14="http://schemas.microsoft.com/office/powerpoint/2010/main" val="28425022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0784702F-01DF-93C1-54A2-26FBE32C0E79}"/>
              </a:ext>
            </a:extLst>
          </p:cNvPr>
          <p:cNvSpPr txBox="1"/>
          <p:nvPr/>
        </p:nvSpPr>
        <p:spPr>
          <a:xfrm>
            <a:off x="2731868" y="1583070"/>
            <a:ext cx="8017412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5600" indent="-355600">
              <a:lnSpc>
                <a:spcPts val="24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en städdag där intäkterna går till Utjämningen! Erbjud biltvätt, fönstertvätt, städning, räfsning eller iordningställande inför vintern.</a:t>
            </a:r>
          </a:p>
          <a:p>
            <a:pPr marL="355600" indent="-355600">
              <a:lnSpc>
                <a:spcPts val="24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sv-FI" sz="2400" dirty="0"/>
              <a:t>Ordna ett lopptorg, ett loppisrace eller en klädbytardag. Kanske kan ert lokala lopptorg vara med och låta </a:t>
            </a:r>
            <a:br>
              <a:rPr lang="sv-FI" sz="2400" dirty="0"/>
            </a:br>
            <a:r>
              <a:rPr lang="sv-FI" sz="2400" dirty="0"/>
              <a:t>en dags/veckas försäljning gå till Utjämningen.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2E95C05C-7049-2FDD-02C6-85F135E8F608}"/>
              </a:ext>
            </a:extLst>
          </p:cNvPr>
          <p:cNvSpPr txBox="1">
            <a:spLocks/>
          </p:cNvSpPr>
          <p:nvPr/>
        </p:nvSpPr>
        <p:spPr>
          <a:xfrm>
            <a:off x="2731868" y="589280"/>
            <a:ext cx="6486697" cy="69859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Städdag / lopptorg</a:t>
            </a:r>
          </a:p>
        </p:txBody>
      </p:sp>
    </p:spTree>
    <p:extLst>
      <p:ext uri="{BB962C8B-B14F-4D97-AF65-F5344CB8AC3E}">
        <p14:creationId xmlns:p14="http://schemas.microsoft.com/office/powerpoint/2010/main" val="1238585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ruutu 4">
            <a:extLst>
              <a:ext uri="{FF2B5EF4-FFF2-40B4-BE49-F238E27FC236}">
                <a16:creationId xmlns:a16="http://schemas.microsoft.com/office/drawing/2014/main" id="{43CAB134-4BA9-6715-88D9-BDE31B28E0B0}"/>
              </a:ext>
            </a:extLst>
          </p:cNvPr>
          <p:cNvSpPr txBox="1"/>
          <p:nvPr/>
        </p:nvSpPr>
        <p:spPr>
          <a:xfrm>
            <a:off x="2746374" y="2204239"/>
            <a:ext cx="8023226" cy="2170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2800"/>
              </a:lnSpc>
              <a:buFont typeface="Wingdings" panose="05000000000000000000" pitchFamily="2" charset="2"/>
              <a:buChar char="Ø"/>
            </a:pPr>
            <a:r>
              <a:rPr lang="sv-FI" sz="2400" dirty="0"/>
              <a:t>Ordna en gudstjänst kring temat Utjämning eller välj ett annat angeläget tema såsom fred, miljö, </a:t>
            </a:r>
            <a:r>
              <a:rPr lang="sv-FI" sz="2400" dirty="0" err="1"/>
              <a:t>matsäkerhet</a:t>
            </a:r>
            <a:r>
              <a:rPr lang="sv-FI" sz="2400" dirty="0"/>
              <a:t> eller liknande.</a:t>
            </a:r>
          </a:p>
          <a:p>
            <a:pPr marL="342900" indent="-342900">
              <a:lnSpc>
                <a:spcPts val="2800"/>
              </a:lnSpc>
              <a:buFont typeface="Wingdings" panose="05000000000000000000" pitchFamily="2" charset="2"/>
              <a:buChar char="Ø"/>
            </a:pPr>
            <a:endParaRPr lang="sv-FI" sz="2400" dirty="0"/>
          </a:p>
          <a:p>
            <a:pPr marL="342900" indent="-342900">
              <a:lnSpc>
                <a:spcPts val="2600"/>
              </a:lnSpc>
              <a:buFont typeface="Wingdings" panose="05000000000000000000" pitchFamily="2" charset="2"/>
              <a:buChar char="Ø"/>
            </a:pPr>
            <a:r>
              <a:rPr lang="sv-FI" sz="2400" dirty="0"/>
              <a:t>Ta upp en kollekt till Utjämningen under gudstjänsten.</a:t>
            </a:r>
            <a:br>
              <a:rPr lang="sv-FI" sz="2000" dirty="0"/>
            </a:br>
            <a:endParaRPr lang="sv-FI" sz="2000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DBEB38B9-3357-E8FE-3C05-F6E5B08E6544}"/>
              </a:ext>
            </a:extLst>
          </p:cNvPr>
          <p:cNvSpPr txBox="1">
            <a:spLocks/>
          </p:cNvSpPr>
          <p:nvPr/>
        </p:nvSpPr>
        <p:spPr>
          <a:xfrm>
            <a:off x="2726054" y="1380324"/>
            <a:ext cx="9051631" cy="57641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4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sv-FI" sz="3400" dirty="0"/>
              <a:t>Gudstjänst med utjämningstema</a:t>
            </a:r>
          </a:p>
        </p:txBody>
      </p:sp>
    </p:spTree>
    <p:extLst>
      <p:ext uri="{BB962C8B-B14F-4D97-AF65-F5344CB8AC3E}">
        <p14:creationId xmlns:p14="http://schemas.microsoft.com/office/powerpoint/2010/main" val="1479794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E5DC34CE36E89F4B92BFA9B82D23A070" ma:contentTypeVersion="16" ma:contentTypeDescription="Luo uusi asiakirja." ma:contentTypeScope="" ma:versionID="91bbc7148be07064bdc86f426d14c278">
  <xsd:schema xmlns:xsd="http://www.w3.org/2001/XMLSchema" xmlns:xs="http://www.w3.org/2001/XMLSchema" xmlns:p="http://schemas.microsoft.com/office/2006/metadata/properties" xmlns:ns2="36c43c7b-f203-4255-9c01-fbfa8f435691" xmlns:ns3="cba8b525-faa7-450e-87ad-219cde38671f" targetNamespace="http://schemas.microsoft.com/office/2006/metadata/properties" ma:root="true" ma:fieldsID="410666f8b4b774e0b8881ef65b5e04e2" ns2:_="" ns3:_="">
    <xsd:import namespace="36c43c7b-f203-4255-9c01-fbfa8f435691"/>
    <xsd:import namespace="cba8b525-faa7-450e-87ad-219cde3867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c43c7b-f203-4255-9c01-fbfa8f4356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Kuvien tunnisteet" ma:readOnly="false" ma:fieldId="{5cf76f15-5ced-4ddc-b409-7134ff3c332f}" ma:taxonomyMulti="true" ma:sspId="bc5903eb-f726-48b2-a5e1-0557bb19de1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a8b525-faa7-450e-87ad-219cde38671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e7f9ea9-f2b8-4c26-b77f-ec1180490373}" ma:internalName="TaxCatchAll" ma:showField="CatchAllData" ma:web="cba8b525-faa7-450e-87ad-219cde3867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a8b525-faa7-450e-87ad-219cde38671f" xsi:nil="true"/>
    <lcf76f155ced4ddcb4097134ff3c332f xmlns="36c43c7b-f203-4255-9c01-fbfa8f43569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AC3F12-13C8-43B8-BEFE-E10027CFB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c43c7b-f203-4255-9c01-fbfa8f435691"/>
    <ds:schemaRef ds:uri="cba8b525-faa7-450e-87ad-219cde3867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61CD85-216E-45FC-AE03-F395A40BCA1E}">
  <ds:schemaRefs>
    <ds:schemaRef ds:uri="http://schemas.microsoft.com/office/2006/metadata/properties"/>
    <ds:schemaRef ds:uri="http://schemas.microsoft.com/office/infopath/2007/PartnerControls"/>
    <ds:schemaRef ds:uri="cba8b525-faa7-450e-87ad-219cde38671f"/>
    <ds:schemaRef ds:uri="36c43c7b-f203-4255-9c01-fbfa8f435691"/>
  </ds:schemaRefs>
</ds:datastoreItem>
</file>

<file path=customXml/itemProps3.xml><?xml version="1.0" encoding="utf-8"?>
<ds:datastoreItem xmlns:ds="http://schemas.openxmlformats.org/officeDocument/2006/customXml" ds:itemID="{7C4994D3-23E9-4CC7-B9CB-2765968795E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60</TotalTime>
  <Words>721</Words>
  <Application>Microsoft Office PowerPoint</Application>
  <PresentationFormat>Bredbild</PresentationFormat>
  <Paragraphs>47</Paragraphs>
  <Slides>13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Office-teema</vt:lpstr>
      <vt:lpstr>think-cell Slide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Redovisa inkomsterna</vt:lpstr>
      <vt:lpstr>UTJÄM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Steffansson-Myrskog Charlotte</cp:lastModifiedBy>
  <cp:revision>40</cp:revision>
  <dcterms:created xsi:type="dcterms:W3CDTF">2021-03-29T12:00:14Z</dcterms:created>
  <dcterms:modified xsi:type="dcterms:W3CDTF">2025-06-10T12:3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DC34CE36E89F4B92BFA9B82D23A070</vt:lpwstr>
  </property>
</Properties>
</file>